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D$2:$D$217</c:f>
              <c:numCache>
                <c:formatCode>#,##0</c:formatCode>
                <c:ptCount val="21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5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8</c:v>
                </c:pt>
                <c:pt idx="178">
                  <c:v>720</c:v>
                </c:pt>
                <c:pt idx="179">
                  <c:v>714</c:v>
                </c:pt>
                <c:pt idx="180">
                  <c:v>741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6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3</c:v>
                </c:pt>
                <c:pt idx="204">
                  <c:v>923</c:v>
                </c:pt>
                <c:pt idx="207">
                  <c:v>876</c:v>
                </c:pt>
                <c:pt idx="208">
                  <c:v>864</c:v>
                </c:pt>
                <c:pt idx="209">
                  <c:v>867</c:v>
                </c:pt>
                <c:pt idx="210">
                  <c:v>841</c:v>
                </c:pt>
                <c:pt idx="211">
                  <c:v>800</c:v>
                </c:pt>
                <c:pt idx="212">
                  <c:v>757</c:v>
                </c:pt>
                <c:pt idx="213">
                  <c:v>700</c:v>
                </c:pt>
                <c:pt idx="214">
                  <c:v>674</c:v>
                </c:pt>
                <c:pt idx="215">
                  <c:v>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B$2:$B$217</c:f>
              <c:numCache>
                <c:formatCode>#,##0</c:formatCode>
                <c:ptCount val="21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C$2:$C$217</c:f>
              <c:numCache>
                <c:formatCode>#,##0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D$2:$D$217</c:f>
              <c:numCache>
                <c:formatCode>#,##0</c:formatCode>
                <c:ptCount val="21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2</c:v>
                </c:pt>
                <c:pt idx="162">
                  <c:v>2422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4</c:v>
                </c:pt>
                <c:pt idx="168">
                  <c:v>2655</c:v>
                </c:pt>
                <c:pt idx="169">
                  <c:v>2721</c:v>
                </c:pt>
                <c:pt idx="170">
                  <c:v>2762</c:v>
                </c:pt>
                <c:pt idx="171">
                  <c:v>2680</c:v>
                </c:pt>
                <c:pt idx="172">
                  <c:v>2686</c:v>
                </c:pt>
                <c:pt idx="173">
                  <c:v>2809</c:v>
                </c:pt>
                <c:pt idx="174">
                  <c:v>3002</c:v>
                </c:pt>
                <c:pt idx="175">
                  <c:v>3022</c:v>
                </c:pt>
                <c:pt idx="176">
                  <c:v>3035</c:v>
                </c:pt>
                <c:pt idx="177">
                  <c:v>3048</c:v>
                </c:pt>
                <c:pt idx="178">
                  <c:v>3132</c:v>
                </c:pt>
                <c:pt idx="179">
                  <c:v>3239</c:v>
                </c:pt>
                <c:pt idx="180">
                  <c:v>3380</c:v>
                </c:pt>
                <c:pt idx="181">
                  <c:v>3585</c:v>
                </c:pt>
                <c:pt idx="182">
                  <c:v>3629</c:v>
                </c:pt>
                <c:pt idx="183">
                  <c:v>3603</c:v>
                </c:pt>
                <c:pt idx="184">
                  <c:v>3687</c:v>
                </c:pt>
                <c:pt idx="185">
                  <c:v>3709</c:v>
                </c:pt>
                <c:pt idx="186">
                  <c:v>3792</c:v>
                </c:pt>
                <c:pt idx="187">
                  <c:v>3879</c:v>
                </c:pt>
                <c:pt idx="188">
                  <c:v>3925</c:v>
                </c:pt>
                <c:pt idx="189">
                  <c:v>3943</c:v>
                </c:pt>
                <c:pt idx="190">
                  <c:v>3952</c:v>
                </c:pt>
                <c:pt idx="191">
                  <c:v>3927</c:v>
                </c:pt>
                <c:pt idx="192">
                  <c:v>3860</c:v>
                </c:pt>
                <c:pt idx="193">
                  <c:v>3969</c:v>
                </c:pt>
                <c:pt idx="194">
                  <c:v>4038</c:v>
                </c:pt>
                <c:pt idx="195">
                  <c:v>4186</c:v>
                </c:pt>
                <c:pt idx="196">
                  <c:v>4106</c:v>
                </c:pt>
                <c:pt idx="197">
                  <c:v>4032</c:v>
                </c:pt>
                <c:pt idx="198">
                  <c:v>4008</c:v>
                </c:pt>
                <c:pt idx="199">
                  <c:v>3798</c:v>
                </c:pt>
                <c:pt idx="200">
                  <c:v>3724</c:v>
                </c:pt>
                <c:pt idx="201">
                  <c:v>3803</c:v>
                </c:pt>
                <c:pt idx="202">
                  <c:v>3827</c:v>
                </c:pt>
                <c:pt idx="203">
                  <c:v>3693</c:v>
                </c:pt>
                <c:pt idx="204">
                  <c:v>3547</c:v>
                </c:pt>
                <c:pt idx="207">
                  <c:v>3357</c:v>
                </c:pt>
                <c:pt idx="208">
                  <c:v>3387</c:v>
                </c:pt>
                <c:pt idx="209">
                  <c:v>3357</c:v>
                </c:pt>
                <c:pt idx="210">
                  <c:v>3273</c:v>
                </c:pt>
                <c:pt idx="211">
                  <c:v>3138</c:v>
                </c:pt>
                <c:pt idx="212">
                  <c:v>2950</c:v>
                </c:pt>
                <c:pt idx="213">
                  <c:v>2554</c:v>
                </c:pt>
                <c:pt idx="214">
                  <c:v>2612</c:v>
                </c:pt>
                <c:pt idx="215">
                  <c:v>2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15"/>
              <c:layout>
                <c:manualLayout>
                  <c:x val="0"/>
                  <c:y val="-6.2867997007228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B$2:$B$217</c:f>
              <c:numCache>
                <c:formatCode>#,##0</c:formatCode>
                <c:ptCount val="21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C$2:$C$217</c:f>
              <c:numCache>
                <c:formatCode>#,##0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D$2:$D$217</c:f>
              <c:numCache>
                <c:formatCode>#,##0</c:formatCode>
                <c:ptCount val="21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0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71</c:v>
                </c:pt>
                <c:pt idx="173">
                  <c:v>1282</c:v>
                </c:pt>
                <c:pt idx="174">
                  <c:v>1364</c:v>
                </c:pt>
                <c:pt idx="175">
                  <c:v>1393</c:v>
                </c:pt>
                <c:pt idx="176">
                  <c:v>1410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4</c:v>
                </c:pt>
                <c:pt idx="181">
                  <c:v>1587</c:v>
                </c:pt>
                <c:pt idx="182">
                  <c:v>1599</c:v>
                </c:pt>
                <c:pt idx="183">
                  <c:v>1625</c:v>
                </c:pt>
                <c:pt idx="184">
                  <c:v>1650</c:v>
                </c:pt>
                <c:pt idx="185">
                  <c:v>1670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9</c:v>
                </c:pt>
                <c:pt idx="191">
                  <c:v>1819</c:v>
                </c:pt>
                <c:pt idx="192">
                  <c:v>1835</c:v>
                </c:pt>
                <c:pt idx="193">
                  <c:v>1784</c:v>
                </c:pt>
                <c:pt idx="194">
                  <c:v>1831</c:v>
                </c:pt>
                <c:pt idx="195">
                  <c:v>1889</c:v>
                </c:pt>
                <c:pt idx="196">
                  <c:v>1894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8</c:v>
                </c:pt>
                <c:pt idx="201">
                  <c:v>1811</c:v>
                </c:pt>
                <c:pt idx="202">
                  <c:v>1826</c:v>
                </c:pt>
                <c:pt idx="203">
                  <c:v>1783</c:v>
                </c:pt>
                <c:pt idx="204">
                  <c:v>1749</c:v>
                </c:pt>
                <c:pt idx="207">
                  <c:v>1649</c:v>
                </c:pt>
                <c:pt idx="208">
                  <c:v>1663</c:v>
                </c:pt>
                <c:pt idx="209">
                  <c:v>1670</c:v>
                </c:pt>
                <c:pt idx="210">
                  <c:v>1618</c:v>
                </c:pt>
                <c:pt idx="211">
                  <c:v>1545</c:v>
                </c:pt>
                <c:pt idx="212">
                  <c:v>1471</c:v>
                </c:pt>
                <c:pt idx="213">
                  <c:v>1336</c:v>
                </c:pt>
                <c:pt idx="214">
                  <c:v>1344</c:v>
                </c:pt>
                <c:pt idx="215">
                  <c:v>1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B$2:$B$217</c:f>
              <c:numCache>
                <c:formatCode>#,##0</c:formatCode>
                <c:ptCount val="21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C$2:$C$217</c:f>
              <c:numCache>
                <c:formatCode>#,##0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D$2:$D$217</c:f>
              <c:numCache>
                <c:formatCode>#,##0</c:formatCode>
                <c:ptCount val="2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7</c:v>
                </c:pt>
                <c:pt idx="213">
                  <c:v>28</c:v>
                </c:pt>
                <c:pt idx="214">
                  <c:v>28</c:v>
                </c:pt>
                <c:pt idx="21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1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B$2:$B$217</c:f>
              <c:numCache>
                <c:formatCode>#,##0</c:formatCode>
                <c:ptCount val="21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7</c:f>
              <c:numCache>
                <c:formatCode>m/d/yyyy</c:formatCode>
                <c:ptCount val="2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</c:numCache>
            </c:numRef>
          </c:cat>
          <c:val>
            <c:numRef>
              <c:f>Sheet1!$C$2:$C$217</c:f>
              <c:numCache>
                <c:formatCode>#,##0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5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977256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115341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40801253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554956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93396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00487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9</TotalTime>
  <Words>1045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582</cp:revision>
  <dcterms:created xsi:type="dcterms:W3CDTF">2020-08-08T14:25:07Z</dcterms:created>
  <dcterms:modified xsi:type="dcterms:W3CDTF">2021-04-05T03:47:51Z</dcterms:modified>
</cp:coreProperties>
</file>